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7b8273dd61f5437a" Type="http://schemas.microsoft.com/office/2007/relationships/ui/extensibility" Target="customUI/customUI14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68" r:id="rId1"/>
  </p:sldMasterIdLst>
  <p:notesMasterIdLst>
    <p:notesMasterId r:id="rId5"/>
  </p:notesMasterIdLst>
  <p:handoutMasterIdLst>
    <p:handoutMasterId r:id="rId6"/>
  </p:handoutMasterIdLst>
  <p:sldIdLst>
    <p:sldId id="684" r:id="rId2"/>
    <p:sldId id="722" r:id="rId3"/>
    <p:sldId id="724" r:id="rId4"/>
  </p:sldIdLst>
  <p:sldSz cx="9602788" cy="6858000"/>
  <p:notesSz cx="7315200" cy="9601200"/>
  <p:custDataLst>
    <p:tags r:id="rId7"/>
  </p:custDataLst>
  <p:defaultTextStyle>
    <a:defPPr>
      <a:defRPr lang="en-GB"/>
    </a:defPPr>
    <a:lvl1pPr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6" userDrawn="1">
          <p15:clr>
            <a:srgbClr val="A4A3A4"/>
          </p15:clr>
        </p15:guide>
        <p15:guide id="2" orient="horz" pos="881" userDrawn="1">
          <p15:clr>
            <a:srgbClr val="A4A3A4"/>
          </p15:clr>
        </p15:guide>
        <p15:guide id="3" orient="horz" pos="3992" userDrawn="1">
          <p15:clr>
            <a:srgbClr val="A4A3A4"/>
          </p15:clr>
        </p15:guide>
        <p15:guide id="4" orient="horz" pos="4319">
          <p15:clr>
            <a:srgbClr val="A4A3A4"/>
          </p15:clr>
        </p15:guide>
        <p15:guide id="5" pos="288">
          <p15:clr>
            <a:srgbClr val="A4A3A4"/>
          </p15:clr>
        </p15:guide>
        <p15:guide id="6" pos="5765" userDrawn="1">
          <p15:clr>
            <a:srgbClr val="A4A3A4"/>
          </p15:clr>
        </p15:guide>
        <p15:guide id="7" orient="horz" pos="20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EBFFEB"/>
    <a:srgbClr val="CCFFCC"/>
    <a:srgbClr val="008AB3"/>
    <a:srgbClr val="E8F6E6"/>
    <a:srgbClr val="FFCCCC"/>
    <a:srgbClr val="A6E2EF"/>
    <a:srgbClr val="FCE0E2"/>
    <a:srgbClr val="BFBFBF"/>
    <a:srgbClr val="00A8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27" autoAdjust="0"/>
    <p:restoredTop sz="99858" autoAdjust="0"/>
  </p:normalViewPr>
  <p:slideViewPr>
    <p:cSldViewPr snapToGrid="0" showGuides="1">
      <p:cViewPr varScale="1">
        <p:scale>
          <a:sx n="107" d="100"/>
          <a:sy n="107" d="100"/>
        </p:scale>
        <p:origin x="-96" y="-168"/>
      </p:cViewPr>
      <p:guideLst>
        <p:guide orient="horz" pos="242"/>
        <p:guide orient="horz" pos="1662"/>
        <p:guide orient="horz" pos="3989"/>
        <p:guide orient="horz" pos="1445"/>
        <p:guide orient="horz" pos="1113"/>
        <p:guide orient="horz" pos="926"/>
        <p:guide orient="horz" pos="3295"/>
        <p:guide pos="221"/>
        <p:guide pos="5825"/>
        <p:guide pos="3021"/>
        <p:guide pos="3252"/>
        <p:guide pos="2811"/>
        <p:guide pos="38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-2802" y="-72"/>
      </p:cViewPr>
      <p:guideLst>
        <p:guide orient="horz" pos="3024"/>
        <p:guide pos="230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3169809" cy="479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989" tIns="48995" rIns="97989" bIns="48995" numCol="1" anchor="t" anchorCtr="0" compatLnSpc="1">
            <a:prstTxWarp prst="textNoShape">
              <a:avLst/>
            </a:prstTxWarp>
          </a:bodyPr>
          <a:lstStyle>
            <a:lvl1pPr algn="l" defTabSz="980116">
              <a:lnSpc>
                <a:spcPct val="100000"/>
              </a:lnSpc>
              <a:defRPr sz="13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3740" y="3"/>
            <a:ext cx="3169809" cy="479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989" tIns="48995" rIns="97989" bIns="48995" numCol="1" anchor="t" anchorCtr="0" compatLnSpc="1">
            <a:prstTxWarp prst="textNoShape">
              <a:avLst/>
            </a:prstTxWarp>
          </a:bodyPr>
          <a:lstStyle>
            <a:lvl1pPr algn="r" defTabSz="980116">
              <a:lnSpc>
                <a:spcPct val="100000"/>
              </a:lnSpc>
              <a:defRPr sz="13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119832"/>
            <a:ext cx="3169809" cy="479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989" tIns="48995" rIns="97989" bIns="48995" numCol="1" anchor="b" anchorCtr="0" compatLnSpc="1">
            <a:prstTxWarp prst="textNoShape">
              <a:avLst/>
            </a:prstTxWarp>
          </a:bodyPr>
          <a:lstStyle>
            <a:lvl1pPr algn="l" defTabSz="980116">
              <a:lnSpc>
                <a:spcPct val="100000"/>
              </a:lnSpc>
              <a:defRPr sz="1300"/>
            </a:lvl1pPr>
          </a:lstStyle>
          <a:p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3740" y="9119832"/>
            <a:ext cx="3169809" cy="479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989" tIns="48995" rIns="97989" bIns="48995" numCol="1" anchor="b" anchorCtr="0" compatLnSpc="1">
            <a:prstTxWarp prst="textNoShape">
              <a:avLst/>
            </a:prstTxWarp>
          </a:bodyPr>
          <a:lstStyle>
            <a:lvl1pPr algn="r" defTabSz="980116">
              <a:lnSpc>
                <a:spcPct val="100000"/>
              </a:lnSpc>
              <a:defRPr sz="1300"/>
            </a:lvl1pPr>
          </a:lstStyle>
          <a:p>
            <a:fld id="{9BBE641A-A38A-4199-A515-2A762F6E34D5}" type="slidenum">
              <a:rPr lang="en-GB" smtClean="0">
                <a:solidFill>
                  <a:schemeClr val="accent3"/>
                </a:solidFill>
                <a:latin typeface="+mn-lt"/>
                <a:ea typeface="+mn-lt"/>
                <a:sym typeface="Arial"/>
              </a:rPr>
              <a:pPr/>
              <a:t>‹#›</a:t>
            </a:fld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3503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3169809" cy="479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989" tIns="48995" rIns="97989" bIns="48995" numCol="1" anchor="t" anchorCtr="0" compatLnSpc="1">
            <a:prstTxWarp prst="textNoShape">
              <a:avLst/>
            </a:prstTxWarp>
          </a:bodyPr>
          <a:lstStyle>
            <a:lvl1pPr algn="l" defTabSz="980116">
              <a:lnSpc>
                <a:spcPct val="100000"/>
              </a:lnSpc>
              <a:defRPr sz="13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3740" y="3"/>
            <a:ext cx="3169809" cy="479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989" tIns="48995" rIns="97989" bIns="48995" numCol="1" anchor="t" anchorCtr="0" compatLnSpc="1">
            <a:prstTxWarp prst="textNoShape">
              <a:avLst/>
            </a:prstTxWarp>
          </a:bodyPr>
          <a:lstStyle>
            <a:lvl1pPr algn="r" defTabSz="980116">
              <a:lnSpc>
                <a:spcPct val="100000"/>
              </a:lnSpc>
              <a:defRPr sz="13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36650" y="719138"/>
            <a:ext cx="5045075" cy="3603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30864" y="4559916"/>
            <a:ext cx="5853481" cy="4320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38502" lvl="0" indent="-238502" eaLnBrk="1" hangingPunct="1">
              <a:spcBef>
                <a:spcPct val="60000"/>
              </a:spcBef>
              <a:spcAft>
                <a:spcPts val="627"/>
              </a:spcAft>
              <a:buChar char="•"/>
            </a:pPr>
            <a:r>
              <a:rPr lang="en-GB" dirty="0" smtClean="0"/>
              <a:t>Click to edit Master text styles</a:t>
            </a:r>
          </a:p>
          <a:p>
            <a:pPr lvl="1" indent="-238502" eaLnBrk="1" hangingPunct="1">
              <a:spcBef>
                <a:spcPts val="0"/>
              </a:spcBef>
              <a:spcAft>
                <a:spcPts val="627"/>
              </a:spcAft>
              <a:buFont typeface="Arial" charset="0"/>
              <a:buChar char="–"/>
            </a:pPr>
            <a:r>
              <a:rPr lang="en-GB" dirty="0" smtClean="0"/>
              <a:t>2nd level</a:t>
            </a:r>
          </a:p>
          <a:p>
            <a:pPr marL="715506" lvl="2" indent="-238502" eaLnBrk="1" hangingPunct="1">
              <a:spcBef>
                <a:spcPts val="0"/>
              </a:spcBef>
              <a:spcAft>
                <a:spcPts val="627"/>
              </a:spcAft>
              <a:buFont typeface="Arial" charset="0"/>
              <a:buChar char="-"/>
            </a:pPr>
            <a:r>
              <a:rPr lang="en-GB" dirty="0" smtClean="0"/>
              <a:t>3rd level</a:t>
            </a:r>
          </a:p>
          <a:p>
            <a:pPr marL="954007" lvl="3" indent="-238502" eaLnBrk="1" hangingPunct="1">
              <a:spcBef>
                <a:spcPts val="0"/>
              </a:spcBef>
              <a:spcAft>
                <a:spcPts val="627"/>
              </a:spcAft>
              <a:buFont typeface="Arial" charset="0"/>
              <a:buChar char="-"/>
            </a:pPr>
            <a:r>
              <a:rPr lang="en-GB" dirty="0" smtClean="0"/>
              <a:t>4th level</a:t>
            </a:r>
          </a:p>
          <a:p>
            <a:pPr marL="1192510" lvl="4" indent="-238502" eaLnBrk="1" hangingPunct="1">
              <a:spcBef>
                <a:spcPts val="0"/>
              </a:spcBef>
              <a:spcAft>
                <a:spcPts val="627"/>
              </a:spcAft>
              <a:buFont typeface="Arial" panose="020B0604020202020204" pitchFamily="34" charset="0"/>
              <a:buChar char="-"/>
            </a:pPr>
            <a:r>
              <a:rPr lang="en-GB" dirty="0" smtClean="0"/>
              <a:t>5th level</a:t>
            </a:r>
          </a:p>
          <a:p>
            <a:pPr marL="1431011" lvl="5" indent="-238502" fontAlgn="base">
              <a:spcBef>
                <a:spcPts val="0"/>
              </a:spcBef>
              <a:spcAft>
                <a:spcPts val="627"/>
              </a:spcAft>
              <a:buFont typeface="Arial" charset="0"/>
              <a:buChar char="-"/>
            </a:pPr>
            <a:r>
              <a:rPr lang="en-GB" dirty="0" smtClean="0"/>
              <a:t>6th level</a:t>
            </a:r>
          </a:p>
          <a:p>
            <a:pPr marL="1669513" lvl="6" indent="-238502" fontAlgn="base">
              <a:spcBef>
                <a:spcPts val="0"/>
              </a:spcBef>
              <a:spcAft>
                <a:spcPts val="627"/>
              </a:spcAft>
              <a:buFont typeface="Arial" charset="0"/>
              <a:buChar char="-"/>
            </a:pPr>
            <a:r>
              <a:rPr lang="en-GB" dirty="0" smtClean="0"/>
              <a:t>7th level</a:t>
            </a:r>
          </a:p>
          <a:p>
            <a:pPr marL="1908016" lvl="7" indent="-238502" fontAlgn="base">
              <a:spcBef>
                <a:spcPts val="0"/>
              </a:spcBef>
              <a:spcAft>
                <a:spcPts val="627"/>
              </a:spcAft>
              <a:buFont typeface="Arial" charset="0"/>
              <a:buChar char="-"/>
            </a:pPr>
            <a:r>
              <a:rPr lang="en-GB" dirty="0" smtClean="0"/>
              <a:t>8th level</a:t>
            </a:r>
          </a:p>
          <a:p>
            <a:pPr marL="2146518" lvl="8" indent="-238502" fontAlgn="base">
              <a:spcBef>
                <a:spcPts val="0"/>
              </a:spcBef>
              <a:spcAft>
                <a:spcPts val="627"/>
              </a:spcAft>
              <a:buFont typeface="Arial" charset="0"/>
              <a:buChar char="-"/>
            </a:pPr>
            <a:r>
              <a:rPr lang="en-GB" dirty="0" smtClean="0"/>
              <a:t>9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119832"/>
            <a:ext cx="3169809" cy="479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989" tIns="48995" rIns="97989" bIns="48995" numCol="1" anchor="b" anchorCtr="0" compatLnSpc="1">
            <a:prstTxWarp prst="textNoShape">
              <a:avLst/>
            </a:prstTxWarp>
          </a:bodyPr>
          <a:lstStyle>
            <a:lvl1pPr algn="l" defTabSz="980116">
              <a:lnSpc>
                <a:spcPct val="100000"/>
              </a:lnSpc>
              <a:defRPr sz="13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3740" y="9119832"/>
            <a:ext cx="3169809" cy="479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989" tIns="48995" rIns="97989" bIns="48995" numCol="1" anchor="b" anchorCtr="0" compatLnSpc="1">
            <a:prstTxWarp prst="textNoShape">
              <a:avLst/>
            </a:prstTxWarp>
          </a:bodyPr>
          <a:lstStyle>
            <a:lvl1pPr algn="r" defTabSz="980116">
              <a:lnSpc>
                <a:spcPct val="100000"/>
              </a:lnSpc>
              <a:defRPr sz="13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fld id="{26BEA98B-8E54-4CD0-82BB-B61F2ACC55F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2697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4572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9144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13716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18288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6pPr>
    <a:lvl7pPr marL="27432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7pPr>
    <a:lvl8pPr marL="32004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8pPr>
    <a:lvl9pPr marL="36576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8437" y="2897188"/>
            <a:ext cx="8549149" cy="349250"/>
          </a:xfrm>
          <a:prstGeom prst="rect">
            <a:avLst/>
          </a:prstGeom>
        </p:spPr>
        <p:txBody>
          <a:bodyPr lIns="0" rIns="163449"/>
          <a:lstStyle>
            <a:lvl1pPr marL="0" indent="0">
              <a:buNone/>
              <a:defRPr sz="2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dirty="0" smtClean="0">
                <a:solidFill>
                  <a:srgbClr val="FF0000"/>
                </a:solidFill>
                <a:latin typeface="Arial"/>
                <a:cs typeface="Arial"/>
              </a:rPr>
              <a:t>SHUSA COMMITTEE/BOARD (Arial 24pt Bold/Red)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3275665"/>
            <a:ext cx="8541647" cy="349250"/>
          </a:xfrm>
          <a:prstGeom prst="rect">
            <a:avLst/>
          </a:prstGeom>
        </p:spPr>
        <p:txBody>
          <a:bodyPr lIns="0" rIns="199453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 smtClean="0"/>
              <a:t>Title of Presentation 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ust match Agenda, Arial 20pt Bold/Black)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355938" y="3706427"/>
            <a:ext cx="4547155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pt Black)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55935" y="4339840"/>
            <a:ext cx="8541648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esenter: Name and Title (Arial 18pt Gra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9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2897188"/>
            <a:ext cx="8541647" cy="349250"/>
          </a:xfrm>
          <a:prstGeom prst="rect">
            <a:avLst/>
          </a:prstGeom>
        </p:spPr>
        <p:txBody>
          <a:bodyPr lIns="0" rIns="163449"/>
          <a:lstStyle>
            <a:lvl1pPr>
              <a:defRPr lang="en-GB" sz="2400" b="1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marL="0" lvl="0" indent="0">
              <a:buNone/>
            </a:pPr>
            <a:r>
              <a:rPr lang="en-GB" dirty="0" smtClean="0"/>
              <a:t>Section #</a:t>
            </a:r>
            <a:endParaRPr lang="en-GB" dirty="0"/>
          </a:p>
        </p:txBody>
      </p:sp>
      <p:sp>
        <p:nvSpPr>
          <p:cNvPr id="4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162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308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1460500"/>
            <a:ext cx="8829230" cy="4992687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1171577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65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733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348435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5168378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62550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57768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&amp; 1/3 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785970" y="1457159"/>
            <a:ext cx="2391695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348435" y="1457159"/>
            <a:ext cx="5837361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</p:spTree>
    <p:extLst>
      <p:ext uri="{BB962C8B-B14F-4D97-AF65-F5344CB8AC3E}">
        <p14:creationId xmlns:p14="http://schemas.microsoft.com/office/powerpoint/2010/main" val="1360059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602788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9001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5202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66752203"/>
              </p:ext>
            </p:extLst>
          </p:nvPr>
        </p:nvGraphicFramePr>
        <p:xfrm>
          <a:off x="1670" y="1592"/>
          <a:ext cx="166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8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670" y="1592"/>
                        <a:ext cx="166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C:\Users\n610821\Desktop\sant-MReg_positivo_RGB.300.jp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469" y="6166951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192347" y="6321262"/>
            <a:ext cx="1537600" cy="2908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b="1" baseline="30000" dirty="0" smtClean="0">
                <a:solidFill>
                  <a:schemeClr val="tx1"/>
                </a:solidFill>
              </a:rPr>
              <a:t>Santander Bank, N.A.</a:t>
            </a:r>
            <a:endParaRPr lang="en-US" sz="1500" b="1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7507600" y="6017080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575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69" r:id="rId2"/>
    <p:sldLayoutId id="2147483771" r:id="rId3"/>
    <p:sldLayoutId id="2147483772" r:id="rId4"/>
    <p:sldLayoutId id="2147483774" r:id="rId5"/>
    <p:sldLayoutId id="2147483775" r:id="rId6"/>
    <p:sldLayoutId id="2147483782" r:id="rId7"/>
    <p:sldLayoutId id="2147483783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latin typeface="Arial"/>
                <a:cs typeface="Arial"/>
              </a:rPr>
              <a:t>P-19 SBNA Risk Appetite Quantitative Limit Test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eaLnBrk="0" hangingPunct="0">
              <a:lnSpc>
                <a:spcPts val="2700"/>
              </a:lnSpc>
              <a:spcAft>
                <a:spcPts val="600"/>
              </a:spcAft>
            </a:pPr>
            <a:r>
              <a:rPr lang="en-US" dirty="0" smtClean="0">
                <a:solidFill>
                  <a:prstClr val="black"/>
                </a:solidFill>
              </a:rPr>
              <a:t>Round 1</a:t>
            </a:r>
            <a:endParaRPr lang="en-US" b="0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July 1,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8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2056848"/>
              </p:ext>
            </p:extLst>
          </p:nvPr>
        </p:nvGraphicFramePr>
        <p:xfrm>
          <a:off x="260410" y="1047870"/>
          <a:ext cx="9123285" cy="4937760"/>
        </p:xfrm>
        <a:graphic>
          <a:graphicData uri="http://schemas.openxmlformats.org/drawingml/2006/table">
            <a:tbl>
              <a:tblPr firstRow="1" bandRow="1"/>
              <a:tblGrid>
                <a:gridCol w="952500"/>
                <a:gridCol w="1941769"/>
                <a:gridCol w="592249"/>
                <a:gridCol w="592249"/>
                <a:gridCol w="592249"/>
                <a:gridCol w="1014745"/>
                <a:gridCol w="1014745"/>
                <a:gridCol w="2422779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s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5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on Equity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er 1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00%</a:t>
                      </a:r>
                    </a:p>
                  </a:txBody>
                  <a:tcPr marL="48014" marR="48014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.50%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-19 not evaluated under stres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Risk-based Capital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4.25%</a:t>
                      </a:r>
                    </a:p>
                  </a:txBody>
                  <a:tcPr marL="48014" marR="48014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4.00%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-19 not evaluated under stres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2174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r</a:t>
                      </a:r>
                      <a:r>
                        <a:rPr lang="en-US" sz="1000" b="0" i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Leverage</a:t>
                      </a:r>
                      <a:endParaRPr lang="en-US" sz="1000" b="0" i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-19 not evaluated under stres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r 1 Risk-based Capital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.5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.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-19 not evaluated under stres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2174">
                <a:tc vMerge="1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airment to PPNR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,722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,795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ssed measure on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7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 (losses)</a:t>
                      </a: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Credit Losses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2,034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2,120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ressed measure only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O: Consumer Banking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5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2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7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9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ed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breach amber trigger in 2019 due to increase in unsecured lending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1336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O: Business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anking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8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28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O: Commercial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&amp; Industrial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9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3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3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7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320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O: Commercial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al Estat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12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2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usiness line view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35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O: Global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rporate Banking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09%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09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12%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2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4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umer 60+ Days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ast Du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84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3.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9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 (concentration)</a:t>
                      </a: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ingle Obligor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xposure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gt;$200M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 20 Corporates Exposur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8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ligor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ating Exposur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ustry Exposure</a:t>
                      </a:r>
                      <a:endParaRPr lang="en-US" sz="100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Financial &amp; Insuranc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6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Utilities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8.8B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8.7B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8.9B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 product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ew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ultifamily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8.4B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7.6B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6.9B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1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Project Financ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.31B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.43BN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.40B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3.7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 smtClean="0"/>
              <a:t>SBNA Risk Appetite Limits (1/2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861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2844519"/>
              </p:ext>
            </p:extLst>
          </p:nvPr>
        </p:nvGraphicFramePr>
        <p:xfrm>
          <a:off x="260410" y="1047870"/>
          <a:ext cx="9114409" cy="4196080"/>
        </p:xfrm>
        <a:graphic>
          <a:graphicData uri="http://schemas.openxmlformats.org/drawingml/2006/table">
            <a:tbl>
              <a:tblPr firstRow="1" bandRow="1"/>
              <a:tblGrid>
                <a:gridCol w="952500"/>
                <a:gridCol w="1941769"/>
                <a:gridCol w="592249"/>
                <a:gridCol w="592249"/>
                <a:gridCol w="592249"/>
                <a:gridCol w="1014745"/>
                <a:gridCol w="1014745"/>
                <a:gridCol w="2413903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s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5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/ Funding risk</a:t>
                      </a: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ssed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vival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od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90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90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90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75 day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45 day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verage Ratio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US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odified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7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2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0%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2174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uctural Funding Ratio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et Encumbranc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3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4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2174">
                <a:tc vMerge="1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an to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posit Ratio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7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%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%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7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est rate risk</a:t>
                      </a: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II 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nsitivity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+/- 100bps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10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11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VE Sensitivity(+/- 100bps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F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9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10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M risk</a:t>
                      </a: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k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to-Market Value at Risk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4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Operational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 L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ses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 Revenu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erial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perational Risk E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ts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3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4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 risk</a:t>
                      </a: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acy Tier 1 Models in Production without Appropriate Approval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Q2016 – 47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Q2016 – 36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Q2016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33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Q2016 – 15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Q2017 – 0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3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 and Reputation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# of OCC Enforcement Action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CFPB Complaints</a:t>
                      </a:r>
                      <a:endParaRPr lang="en-US" sz="1000" b="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35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40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 risk customers as % of total customer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3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 smtClean="0"/>
              <a:t>SBNA Risk Appetite Limits (1/2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1241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2f19bde990ad741f46f5ea7ce4e19f2444f18fb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4.86540966304618920000E+000&quot;&gt;&lt;m_msothmcolidx val=&quot;0&quot;/&gt;&lt;m_rgb r=&quot;eb&quot; g=&quot;3&quot; b=&quot;26&quot;/&gt;&lt;m_ppcolschidx tagver0=&quot;23004&quot; tagname0=&quot;m_ppcolschidxUNRECOGNIZED&quot; val=&quot;0&quot;/&gt;&lt;m_nBrightness val=&quot;0&quot;/&gt;&lt;/elem&gt;&lt;elem m_fUsage=&quot;3.88172892307468010000E+000&quot;&gt;&lt;m_msothmcolidx val=&quot;0&quot;/&gt;&lt;m_rgb r=&quot;ff&quot; g=&quot;bf&quot; b=&quot;27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ff&quot; g=&quot;fa&quot; b=&quot;26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  <p:tag name="ISPRING_RESOURCE_PATHS_HASH_PRESENTER" val="f01d211bc0a0c2ddcfd62f283e8fc92d14a39d5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ody Slide">
  <a:themeElements>
    <a:clrScheme name="Colour Theme propossal">
      <a:dk1>
        <a:srgbClr val="000000"/>
      </a:dk1>
      <a:lt1>
        <a:sysClr val="window" lastClr="FFFFFF"/>
      </a:lt1>
      <a:dk2>
        <a:srgbClr val="000000"/>
      </a:dk2>
      <a:lt2>
        <a:srgbClr val="7F7F7F"/>
      </a:lt2>
      <a:accent1>
        <a:srgbClr val="FF0000"/>
      </a:accent1>
      <a:accent2>
        <a:srgbClr val="A5A5A5"/>
      </a:accent2>
      <a:accent3>
        <a:srgbClr val="FFFFFF"/>
      </a:accent3>
      <a:accent4>
        <a:srgbClr val="3F3F3F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5788</TotalTime>
  <Words>593</Words>
  <Application>Microsoft Office PowerPoint</Application>
  <PresentationFormat>Custom</PresentationFormat>
  <Paragraphs>213</Paragraphs>
  <Slides>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1_Body Slide</vt:lpstr>
      <vt:lpstr>think-cell Slide</vt:lpstr>
      <vt:lpstr>PowerPoint Presentation</vt:lpstr>
      <vt:lpstr>PowerPoint Presentation</vt:lpstr>
      <vt:lpstr>PowerPoint Presentation</vt:lpstr>
    </vt:vector>
  </TitlesOfParts>
  <Company>Oliver Wyma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Wanxin</dc:creator>
  <cp:keywords>Template version: 2015/07/23;Update Pack: 2015/09/15</cp:keywords>
  <cp:lastModifiedBy>James Vincent</cp:lastModifiedBy>
  <cp:revision>1145</cp:revision>
  <cp:lastPrinted>2016-06-17T15:56:23Z</cp:lastPrinted>
  <dcterms:created xsi:type="dcterms:W3CDTF">2016-03-28T17:49:32Z</dcterms:created>
  <dcterms:modified xsi:type="dcterms:W3CDTF">2016-07-01T17:0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07/23</vt:lpwstr>
  </property>
  <property fmtid="{D5CDD505-2E9C-101B-9397-08002B2CF9AE}" pid="3" name="DocumentMSOLanguageID">
    <vt:lpwstr>msoLanguageIDEnglishUK</vt:lpwstr>
  </property>
  <property fmtid="{D5CDD505-2E9C-101B-9397-08002B2CF9AE}" pid="4" name="LogoName">
    <vt:lpwstr>Oliver Wyman</vt:lpwstr>
  </property>
</Properties>
</file>